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5"/>
  </p:notesMasterIdLst>
  <p:sldIdLst>
    <p:sldId id="2147470117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8F8829-5DA3-4B20-9E16-55EAB282D270}" v="92" dt="2024-08-08T09:11:00.790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65" d="100"/>
          <a:sy n="65" d="100"/>
        </p:scale>
        <p:origin x="68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jay, Rahul" userId="a840d856-14f6-4578-923a-f1748c496635" providerId="ADAL" clId="{2D8F8829-5DA3-4B20-9E16-55EAB282D270}"/>
    <pc:docChg chg="undo custSel modSld replTag">
      <pc:chgData name="Vijay, Rahul" userId="a840d856-14f6-4578-923a-f1748c496635" providerId="ADAL" clId="{2D8F8829-5DA3-4B20-9E16-55EAB282D270}" dt="2024-08-08T09:11:00.789" v="145" actId="164"/>
      <pc:docMkLst>
        <pc:docMk/>
      </pc:docMkLst>
      <pc:sldChg chg="addSp delSp modSp mod">
        <pc:chgData name="Vijay, Rahul" userId="a840d856-14f6-4578-923a-f1748c496635" providerId="ADAL" clId="{2D8F8829-5DA3-4B20-9E16-55EAB282D270}" dt="2024-08-08T09:11:00.789" v="145" actId="164"/>
        <pc:sldMkLst>
          <pc:docMk/>
          <pc:sldMk cId="1406882500" sldId="2147470117"/>
        </pc:sldMkLst>
        <pc:spChg chg="mod">
          <ac:chgData name="Vijay, Rahul" userId="a840d856-14f6-4578-923a-f1748c496635" providerId="ADAL" clId="{2D8F8829-5DA3-4B20-9E16-55EAB282D270}" dt="2024-08-08T09:10:30.469" v="144" actId="164"/>
          <ac:spMkLst>
            <pc:docMk/>
            <pc:sldMk cId="1406882500" sldId="2147470117"/>
            <ac:spMk id="4" creationId="{70780F58-446C-41AE-AD14-C49491DA456D}"/>
          </ac:spMkLst>
        </pc:spChg>
        <pc:spChg chg="add del">
          <ac:chgData name="Vijay, Rahul" userId="a840d856-14f6-4578-923a-f1748c496635" providerId="ADAL" clId="{2D8F8829-5DA3-4B20-9E16-55EAB282D270}" dt="2024-08-08T09:09:49.883" v="137"/>
          <ac:spMkLst>
            <pc:docMk/>
            <pc:sldMk cId="1406882500" sldId="2147470117"/>
            <ac:spMk id="5" creationId="{3623A85E-2F3C-C017-14A0-C8A34272F339}"/>
          </ac:spMkLst>
        </pc:spChg>
        <pc:spChg chg="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6" creationId="{8D74F176-D606-4B02-B95B-93050E0B17CA}"/>
          </ac:spMkLst>
        </pc:spChg>
        <pc:spChg chg="mod">
          <ac:chgData name="Vijay, Rahul" userId="a840d856-14f6-4578-923a-f1748c496635" providerId="ADAL" clId="{2D8F8829-5DA3-4B20-9E16-55EAB282D270}" dt="2024-08-08T09:10:30.469" v="144" actId="164"/>
          <ac:spMkLst>
            <pc:docMk/>
            <pc:sldMk cId="1406882500" sldId="2147470117"/>
            <ac:spMk id="15" creationId="{FEEB242E-E05D-4726-825B-8DEAD66896B5}"/>
          </ac:spMkLst>
        </pc:spChg>
        <pc:spChg chg="mod">
          <ac:chgData name="Vijay, Rahul" userId="a840d856-14f6-4578-923a-f1748c496635" providerId="ADAL" clId="{2D8F8829-5DA3-4B20-9E16-55EAB282D270}" dt="2024-08-08T09:11:00.789" v="145" actId="164"/>
          <ac:spMkLst>
            <pc:docMk/>
            <pc:sldMk cId="1406882500" sldId="2147470117"/>
            <ac:spMk id="16" creationId="{70446594-CD83-4B8F-B851-09B1C104BE5E}"/>
          </ac:spMkLst>
        </pc:spChg>
        <pc:spChg chg="mod">
          <ac:chgData name="Vijay, Rahul" userId="a840d856-14f6-4578-923a-f1748c496635" providerId="ADAL" clId="{2D8F8829-5DA3-4B20-9E16-55EAB282D270}" dt="2024-08-08T09:11:00.789" v="145" actId="164"/>
          <ac:spMkLst>
            <pc:docMk/>
            <pc:sldMk cId="1406882500" sldId="2147470117"/>
            <ac:spMk id="18" creationId="{EEAA5CE3-097B-460C-A409-3B89173E4031}"/>
          </ac:spMkLst>
        </pc:spChg>
        <pc:spChg chg="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23" creationId="{904097F7-4F2B-43BF-9A28-93FF9ADD3E18}"/>
          </ac:spMkLst>
        </pc:spChg>
        <pc:spChg chg="mod">
          <ac:chgData name="Vijay, Rahul" userId="a840d856-14f6-4578-923a-f1748c496635" providerId="ADAL" clId="{2D8F8829-5DA3-4B20-9E16-55EAB282D270}" dt="2024-08-08T09:11:00.789" v="145" actId="164"/>
          <ac:spMkLst>
            <pc:docMk/>
            <pc:sldMk cId="1406882500" sldId="2147470117"/>
            <ac:spMk id="34" creationId="{7A9495FE-531A-4EDA-9635-17EA6D97CAB9}"/>
          </ac:spMkLst>
        </pc:spChg>
        <pc:spChg chg="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35" creationId="{77DCFDF6-9B49-4AA2-82DD-24CAEE6CE380}"/>
          </ac:spMkLst>
        </pc:spChg>
        <pc:spChg chg="mod">
          <ac:chgData name="Vijay, Rahul" userId="a840d856-14f6-4578-923a-f1748c496635" providerId="ADAL" clId="{2D8F8829-5DA3-4B20-9E16-55EAB282D270}" dt="2024-08-08T09:11:00.789" v="145" actId="164"/>
          <ac:spMkLst>
            <pc:docMk/>
            <pc:sldMk cId="1406882500" sldId="2147470117"/>
            <ac:spMk id="36" creationId="{1C82FBC9-A205-4684-AD25-C5F7BBDB3B96}"/>
          </ac:spMkLst>
        </pc:spChg>
        <pc:spChg chg="add del">
          <ac:chgData name="Vijay, Rahul" userId="a840d856-14f6-4578-923a-f1748c496635" providerId="ADAL" clId="{2D8F8829-5DA3-4B20-9E16-55EAB282D270}" dt="2024-08-08T09:09:49.883" v="132"/>
          <ac:spMkLst>
            <pc:docMk/>
            <pc:sldMk cId="1406882500" sldId="2147470117"/>
            <ac:spMk id="37" creationId="{1DBC3EE8-462A-C831-1558-AB07331513D1}"/>
          </ac:spMkLst>
        </pc:spChg>
        <pc:spChg chg="add del">
          <ac:chgData name="Vijay, Rahul" userId="a840d856-14f6-4578-923a-f1748c496635" providerId="ADAL" clId="{2D8F8829-5DA3-4B20-9E16-55EAB282D270}" dt="2024-08-08T09:09:49.883" v="131"/>
          <ac:spMkLst>
            <pc:docMk/>
            <pc:sldMk cId="1406882500" sldId="2147470117"/>
            <ac:spMk id="44" creationId="{B3239C86-0C3E-6280-E8CC-75479FDFC649}"/>
          </ac:spMkLst>
        </pc:spChg>
        <pc:spChg chg="add del">
          <ac:chgData name="Vijay, Rahul" userId="a840d856-14f6-4578-923a-f1748c496635" providerId="ADAL" clId="{2D8F8829-5DA3-4B20-9E16-55EAB282D270}" dt="2024-08-08T09:09:49.883" v="130"/>
          <ac:spMkLst>
            <pc:docMk/>
            <pc:sldMk cId="1406882500" sldId="2147470117"/>
            <ac:spMk id="45" creationId="{2D19F6B4-2A84-59F3-653D-8308558EA968}"/>
          </ac:spMkLst>
        </pc:spChg>
        <pc:spChg chg="add del">
          <ac:chgData name="Vijay, Rahul" userId="a840d856-14f6-4578-923a-f1748c496635" providerId="ADAL" clId="{2D8F8829-5DA3-4B20-9E16-55EAB282D270}" dt="2024-08-08T09:09:49.883" v="129"/>
          <ac:spMkLst>
            <pc:docMk/>
            <pc:sldMk cId="1406882500" sldId="2147470117"/>
            <ac:spMk id="46" creationId="{D2DF2C1D-4988-957B-870C-C1864ABBCE15}"/>
          </ac:spMkLst>
        </pc:spChg>
        <pc:spChg chg="add del">
          <ac:chgData name="Vijay, Rahul" userId="a840d856-14f6-4578-923a-f1748c496635" providerId="ADAL" clId="{2D8F8829-5DA3-4B20-9E16-55EAB282D270}" dt="2024-08-08T09:09:49.883" v="128"/>
          <ac:spMkLst>
            <pc:docMk/>
            <pc:sldMk cId="1406882500" sldId="2147470117"/>
            <ac:spMk id="47" creationId="{598D1252-E107-FDCB-AB3C-EB191C756552}"/>
          </ac:spMkLst>
        </pc:spChg>
        <pc:spChg chg="add del">
          <ac:chgData name="Vijay, Rahul" userId="a840d856-14f6-4578-923a-f1748c496635" providerId="ADAL" clId="{2D8F8829-5DA3-4B20-9E16-55EAB282D270}" dt="2024-08-08T09:09:49.883" v="136"/>
          <ac:spMkLst>
            <pc:docMk/>
            <pc:sldMk cId="1406882500" sldId="2147470117"/>
            <ac:spMk id="49" creationId="{6D81AF19-BA02-8B98-5394-14014D60A2FD}"/>
          </ac:spMkLst>
        </pc:spChg>
        <pc:spChg chg="add del">
          <ac:chgData name="Vijay, Rahul" userId="a840d856-14f6-4578-923a-f1748c496635" providerId="ADAL" clId="{2D8F8829-5DA3-4B20-9E16-55EAB282D270}" dt="2024-08-08T09:09:49.883" v="135"/>
          <ac:spMkLst>
            <pc:docMk/>
            <pc:sldMk cId="1406882500" sldId="2147470117"/>
            <ac:spMk id="50" creationId="{936CBDEA-D936-EE78-5C17-8CACE95A5D8E}"/>
          </ac:spMkLst>
        </pc:spChg>
        <pc:spChg chg="add del">
          <ac:chgData name="Vijay, Rahul" userId="a840d856-14f6-4578-923a-f1748c496635" providerId="ADAL" clId="{2D8F8829-5DA3-4B20-9E16-55EAB282D270}" dt="2024-08-08T09:09:49.883" v="134"/>
          <ac:spMkLst>
            <pc:docMk/>
            <pc:sldMk cId="1406882500" sldId="2147470117"/>
            <ac:spMk id="51" creationId="{5B9C35C4-1BC9-11CB-A18D-32A96CAA2A7F}"/>
          </ac:spMkLst>
        </pc:spChg>
        <pc:spChg chg="add del">
          <ac:chgData name="Vijay, Rahul" userId="a840d856-14f6-4578-923a-f1748c496635" providerId="ADAL" clId="{2D8F8829-5DA3-4B20-9E16-55EAB282D270}" dt="2024-08-08T09:09:49.883" v="133"/>
          <ac:spMkLst>
            <pc:docMk/>
            <pc:sldMk cId="1406882500" sldId="2147470117"/>
            <ac:spMk id="53" creationId="{D49AA4F3-3101-B911-D4F5-D78904B4E7A9}"/>
          </ac:spMkLst>
        </pc:spChg>
        <pc:spChg chg="add del">
          <ac:chgData name="Vijay, Rahul" userId="a840d856-14f6-4578-923a-f1748c496635" providerId="ADAL" clId="{2D8F8829-5DA3-4B20-9E16-55EAB282D270}" dt="2024-08-08T09:09:49.883" v="127"/>
          <ac:spMkLst>
            <pc:docMk/>
            <pc:sldMk cId="1406882500" sldId="2147470117"/>
            <ac:spMk id="54" creationId="{F0DEF3C8-8854-C9AD-B756-2B85245DC1C2}"/>
          </ac:spMkLst>
        </pc:spChg>
        <pc:spChg chg="add del">
          <ac:chgData name="Vijay, Rahul" userId="a840d856-14f6-4578-923a-f1748c496635" providerId="ADAL" clId="{2D8F8829-5DA3-4B20-9E16-55EAB282D270}" dt="2024-08-08T09:09:49.867" v="86"/>
          <ac:spMkLst>
            <pc:docMk/>
            <pc:sldMk cId="1406882500" sldId="2147470117"/>
            <ac:spMk id="59" creationId="{74210818-E43E-8F9C-7C6E-3B960225B32D}"/>
          </ac:spMkLst>
        </pc:spChg>
        <pc:spChg chg="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60" creationId="{1426D4E3-D8F2-474F-B8E1-81204623FAE6}"/>
          </ac:spMkLst>
        </pc:spChg>
        <pc:spChg chg="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61" creationId="{F39EEDA0-A5E5-4B6E-843B-640F4445A5AE}"/>
          </ac:spMkLst>
        </pc:spChg>
        <pc:spChg chg="add del">
          <ac:chgData name="Vijay, Rahul" userId="a840d856-14f6-4578-923a-f1748c496635" providerId="ADAL" clId="{2D8F8829-5DA3-4B20-9E16-55EAB282D270}" dt="2024-08-08T09:09:49.867" v="105"/>
          <ac:spMkLst>
            <pc:docMk/>
            <pc:sldMk cId="1406882500" sldId="2147470117"/>
            <ac:spMk id="65" creationId="{EA67883A-07F0-B46E-89B4-C56C7E640DF1}"/>
          </ac:spMkLst>
        </pc:spChg>
        <pc:spChg chg="add del">
          <ac:chgData name="Vijay, Rahul" userId="a840d856-14f6-4578-923a-f1748c496635" providerId="ADAL" clId="{2D8F8829-5DA3-4B20-9E16-55EAB282D270}" dt="2024-08-08T09:09:49.867" v="106"/>
          <ac:spMkLst>
            <pc:docMk/>
            <pc:sldMk cId="1406882500" sldId="2147470117"/>
            <ac:spMk id="70" creationId="{8104AAA8-62B7-1744-02C9-DBE5E022E597}"/>
          </ac:spMkLst>
        </pc:spChg>
        <pc:spChg chg="add del">
          <ac:chgData name="Vijay, Rahul" userId="a840d856-14f6-4578-923a-f1748c496635" providerId="ADAL" clId="{2D8F8829-5DA3-4B20-9E16-55EAB282D270}" dt="2024-08-08T09:09:49.867" v="89"/>
          <ac:spMkLst>
            <pc:docMk/>
            <pc:sldMk cId="1406882500" sldId="2147470117"/>
            <ac:spMk id="76" creationId="{7F9C1C29-EBA1-7EA9-2605-F8048B4FAF98}"/>
          </ac:spMkLst>
        </pc:spChg>
        <pc:spChg chg="add del mod">
          <ac:chgData name="Vijay, Rahul" userId="a840d856-14f6-4578-923a-f1748c496635" providerId="ADAL" clId="{2D8F8829-5DA3-4B20-9E16-55EAB282D270}" dt="2024-08-08T09:06:56.644" v="63" actId="164"/>
          <ac:spMkLst>
            <pc:docMk/>
            <pc:sldMk cId="1406882500" sldId="2147470117"/>
            <ac:spMk id="79" creationId="{4232F778-5584-42CF-888A-EA49358E1A45}"/>
          </ac:spMkLst>
        </pc:spChg>
        <pc:spChg chg="add del">
          <ac:chgData name="Vijay, Rahul" userId="a840d856-14f6-4578-923a-f1748c496635" providerId="ADAL" clId="{2D8F8829-5DA3-4B20-9E16-55EAB282D270}" dt="2024-08-08T09:09:49.883" v="118"/>
          <ac:spMkLst>
            <pc:docMk/>
            <pc:sldMk cId="1406882500" sldId="2147470117"/>
            <ac:spMk id="82" creationId="{20BBCA9D-697F-9F88-E04E-F1B49D92BF14}"/>
          </ac:spMkLst>
        </pc:spChg>
        <pc:spChg chg="add del">
          <ac:chgData name="Vijay, Rahul" userId="a840d856-14f6-4578-923a-f1748c496635" providerId="ADAL" clId="{2D8F8829-5DA3-4B20-9E16-55EAB282D270}" dt="2024-08-08T09:09:49.867" v="101"/>
          <ac:spMkLst>
            <pc:docMk/>
            <pc:sldMk cId="1406882500" sldId="2147470117"/>
            <ac:spMk id="87" creationId="{5A68E209-1E12-6F39-BB4B-FBEC83C3A247}"/>
          </ac:spMkLst>
        </pc:spChg>
        <pc:spChg chg="mod">
          <ac:chgData name="Vijay, Rahul" userId="a840d856-14f6-4578-923a-f1748c496635" providerId="ADAL" clId="{2D8F8829-5DA3-4B20-9E16-55EAB282D270}" dt="2024-08-08T09:10:30.469" v="144" actId="164"/>
          <ac:spMkLst>
            <pc:docMk/>
            <pc:sldMk cId="1406882500" sldId="2147470117"/>
            <ac:spMk id="88" creationId="{493320D8-2509-40DD-AFFA-AFB91AA464AC}"/>
          </ac:spMkLst>
        </pc:spChg>
        <pc:spChg chg="add del">
          <ac:chgData name="Vijay, Rahul" userId="a840d856-14f6-4578-923a-f1748c496635" providerId="ADAL" clId="{2D8F8829-5DA3-4B20-9E16-55EAB282D270}" dt="2024-08-08T09:09:49.883" v="125"/>
          <ac:spMkLst>
            <pc:docMk/>
            <pc:sldMk cId="1406882500" sldId="2147470117"/>
            <ac:spMk id="93" creationId="{79C95D3B-1382-5695-6EA2-BA2F5821B987}"/>
          </ac:spMkLst>
        </pc:spChg>
        <pc:spChg chg="add del">
          <ac:chgData name="Vijay, Rahul" userId="a840d856-14f6-4578-923a-f1748c496635" providerId="ADAL" clId="{2D8F8829-5DA3-4B20-9E16-55EAB282D270}" dt="2024-08-08T09:09:49.883" v="126"/>
          <ac:spMkLst>
            <pc:docMk/>
            <pc:sldMk cId="1406882500" sldId="2147470117"/>
            <ac:spMk id="98" creationId="{5ACDCAEC-BFA0-6EC0-92AE-496C675F2E85}"/>
          </ac:spMkLst>
        </pc:spChg>
        <pc:spChg chg="add del">
          <ac:chgData name="Vijay, Rahul" userId="a840d856-14f6-4578-923a-f1748c496635" providerId="ADAL" clId="{2D8F8829-5DA3-4B20-9E16-55EAB282D270}" dt="2024-08-08T09:09:49.867" v="102"/>
          <ac:spMkLst>
            <pc:docMk/>
            <pc:sldMk cId="1406882500" sldId="2147470117"/>
            <ac:spMk id="102" creationId="{86EEA9F1-A3C0-63F3-BA33-8EDF82B40136}"/>
          </ac:spMkLst>
        </pc:spChg>
        <pc:spChg chg="add del">
          <ac:chgData name="Vijay, Rahul" userId="a840d856-14f6-4578-923a-f1748c496635" providerId="ADAL" clId="{2D8F8829-5DA3-4B20-9E16-55EAB282D270}" dt="2024-08-08T09:09:49.867" v="109"/>
          <ac:spMkLst>
            <pc:docMk/>
            <pc:sldMk cId="1406882500" sldId="2147470117"/>
            <ac:spMk id="106" creationId="{B02D3AEB-D2F9-473C-2820-881D7AF9DEA2}"/>
          </ac:spMkLst>
        </pc:spChg>
        <pc:spChg chg="add del">
          <ac:chgData name="Vijay, Rahul" userId="a840d856-14f6-4578-923a-f1748c496635" providerId="ADAL" clId="{2D8F8829-5DA3-4B20-9E16-55EAB282D270}" dt="2024-08-08T09:09:49.867" v="92"/>
          <ac:spMkLst>
            <pc:docMk/>
            <pc:sldMk cId="1406882500" sldId="2147470117"/>
            <ac:spMk id="111" creationId="{1A3F8104-06D8-9EDA-3C6C-E26534E2B392}"/>
          </ac:spMkLst>
        </pc:spChg>
        <pc:spChg chg="add del">
          <ac:chgData name="Vijay, Rahul" userId="a840d856-14f6-4578-923a-f1748c496635" providerId="ADAL" clId="{2D8F8829-5DA3-4B20-9E16-55EAB282D270}" dt="2024-08-08T09:09:49.883" v="119"/>
          <ac:spMkLst>
            <pc:docMk/>
            <pc:sldMk cId="1406882500" sldId="2147470117"/>
            <ac:spMk id="116" creationId="{4EB32AF6-BA5D-AF05-973D-D49BC7B3AAFA}"/>
          </ac:spMkLst>
        </pc:spChg>
        <pc:spChg chg="add del">
          <ac:chgData name="Vijay, Rahul" userId="a840d856-14f6-4578-923a-f1748c496635" providerId="ADAL" clId="{2D8F8829-5DA3-4B20-9E16-55EAB282D270}" dt="2024-08-08T09:09:49.867" v="115"/>
          <ac:spMkLst>
            <pc:docMk/>
            <pc:sldMk cId="1406882500" sldId="2147470117"/>
            <ac:spMk id="123" creationId="{0EDDCD0F-61E8-7E40-E994-1A2BEEF3FA18}"/>
          </ac:spMkLst>
        </pc:spChg>
        <pc:spChg chg="add del">
          <ac:chgData name="Vijay, Rahul" userId="a840d856-14f6-4578-923a-f1748c496635" providerId="ADAL" clId="{2D8F8829-5DA3-4B20-9E16-55EAB282D270}" dt="2024-08-08T09:09:49.867" v="98"/>
          <ac:spMkLst>
            <pc:docMk/>
            <pc:sldMk cId="1406882500" sldId="2147470117"/>
            <ac:spMk id="128" creationId="{F5B33A6B-BA21-DC5D-5E02-5E407B097C71}"/>
          </ac:spMkLst>
        </pc:spChg>
        <pc:spChg chg="add del">
          <ac:chgData name="Vijay, Rahul" userId="a840d856-14f6-4578-923a-f1748c496635" providerId="ADAL" clId="{2D8F8829-5DA3-4B20-9E16-55EAB282D270}" dt="2024-08-08T09:09:49.867" v="112"/>
          <ac:spMkLst>
            <pc:docMk/>
            <pc:sldMk cId="1406882500" sldId="2147470117"/>
            <ac:spMk id="133" creationId="{0CF4A5C4-8C54-9A03-09E8-B2E737D69FBE}"/>
          </ac:spMkLst>
        </pc:spChg>
        <pc:spChg chg="add del">
          <ac:chgData name="Vijay, Rahul" userId="a840d856-14f6-4578-923a-f1748c496635" providerId="ADAL" clId="{2D8F8829-5DA3-4B20-9E16-55EAB282D270}" dt="2024-08-08T09:09:49.867" v="95"/>
          <ac:spMkLst>
            <pc:docMk/>
            <pc:sldMk cId="1406882500" sldId="2147470117"/>
            <ac:spMk id="138" creationId="{E3D72AF2-5245-6BBA-81F4-01BB8E56BBA9}"/>
          </ac:spMkLst>
        </pc:spChg>
        <pc:spChg chg="add del">
          <ac:chgData name="Vijay, Rahul" userId="a840d856-14f6-4578-923a-f1748c496635" providerId="ADAL" clId="{2D8F8829-5DA3-4B20-9E16-55EAB282D270}" dt="2024-08-08T09:09:49.883" v="122"/>
          <ac:spMkLst>
            <pc:docMk/>
            <pc:sldMk cId="1406882500" sldId="2147470117"/>
            <ac:spMk id="143" creationId="{94B48A43-8853-D888-F7CD-B19CDFB237B4}"/>
          </ac:spMkLst>
        </pc:spChg>
        <pc:grpChg chg="add mod">
          <ac:chgData name="Vijay, Rahul" userId="a840d856-14f6-4578-923a-f1748c496635" providerId="ADAL" clId="{2D8F8829-5DA3-4B20-9E16-55EAB282D270}" dt="2024-08-08T09:06:56.644" v="63" actId="164"/>
          <ac:grpSpMkLst>
            <pc:docMk/>
            <pc:sldMk cId="1406882500" sldId="2147470117"/>
            <ac:grpSpMk id="2" creationId="{1A9F5255-9D68-6BB9-AFF6-25755896DACB}"/>
          </ac:grpSpMkLst>
        </pc:grpChg>
        <pc:grpChg chg="add mod">
          <ac:chgData name="Vijay, Rahul" userId="a840d856-14f6-4578-923a-f1748c496635" providerId="ADAL" clId="{2D8F8829-5DA3-4B20-9E16-55EAB282D270}" dt="2024-08-08T09:10:30.469" v="144" actId="164"/>
          <ac:grpSpMkLst>
            <pc:docMk/>
            <pc:sldMk cId="1406882500" sldId="2147470117"/>
            <ac:grpSpMk id="7" creationId="{D99373FB-54F0-15FF-BE42-03DFF11BB0B6}"/>
          </ac:grpSpMkLst>
        </pc:grpChg>
        <pc:grpChg chg="add mod">
          <ac:chgData name="Vijay, Rahul" userId="a840d856-14f6-4578-923a-f1748c496635" providerId="ADAL" clId="{2D8F8829-5DA3-4B20-9E16-55EAB282D270}" dt="2024-08-08T09:11:00.789" v="145" actId="164"/>
          <ac:grpSpMkLst>
            <pc:docMk/>
            <pc:sldMk cId="1406882500" sldId="2147470117"/>
            <ac:grpSpMk id="8" creationId="{2303A27C-5EE7-BBA7-15DA-C0F3BE6FAD85}"/>
          </ac:grpSpMkLst>
        </pc:grpChg>
        <pc:graphicFrameChg chg="mod">
          <ac:chgData name="Vijay, Rahul" userId="a840d856-14f6-4578-923a-f1748c496635" providerId="ADAL" clId="{2D8F8829-5DA3-4B20-9E16-55EAB282D270}" dt="2024-08-08T09:09:49.902" v="143"/>
          <ac:graphicFrameMkLst>
            <pc:docMk/>
            <pc:sldMk cId="1406882500" sldId="2147470117"/>
            <ac:graphicFrameMk id="57" creationId="{C50862E0-0C45-201F-5E59-26FAF4A396B6}"/>
          </ac:graphicFrameMkLst>
        </pc:graphicFrameChg>
        <pc:graphicFrameChg chg="add del">
          <ac:chgData name="Vijay, Rahul" userId="a840d856-14f6-4578-923a-f1748c496635" providerId="ADAL" clId="{2D8F8829-5DA3-4B20-9E16-55EAB282D270}" dt="2024-08-08T09:09:49.883" v="139"/>
          <ac:graphicFrameMkLst>
            <pc:docMk/>
            <pc:sldMk cId="1406882500" sldId="2147470117"/>
            <ac:graphicFrameMk id="147" creationId="{8159694E-A581-C2B0-DC11-5A09482C4C84}"/>
          </ac:graphicFrameMkLst>
        </pc:graphicFrameChg>
        <pc:cxnChg chg="add del">
          <ac:chgData name="Vijay, Rahul" userId="a840d856-14f6-4578-923a-f1748c496635" providerId="ADAL" clId="{2D8F8829-5DA3-4B20-9E16-55EAB282D270}" dt="2024-08-08T09:09:49.867" v="85"/>
          <ac:cxnSpMkLst>
            <pc:docMk/>
            <pc:sldMk cId="1406882500" sldId="2147470117"/>
            <ac:cxnSpMk id="63" creationId="{422A895B-7260-D461-6098-B96049F7B0C3}"/>
          </ac:cxnSpMkLst>
        </pc:cxnChg>
        <pc:cxnChg chg="add del">
          <ac:chgData name="Vijay, Rahul" userId="a840d856-14f6-4578-923a-f1748c496635" providerId="ADAL" clId="{2D8F8829-5DA3-4B20-9E16-55EAB282D270}" dt="2024-08-08T09:09:49.867" v="104"/>
          <ac:cxnSpMkLst>
            <pc:docMk/>
            <pc:sldMk cId="1406882500" sldId="2147470117"/>
            <ac:cxnSpMk id="68" creationId="{39789213-7B44-3047-4340-A63CC0065894}"/>
          </ac:cxnSpMkLst>
        </pc:cxnChg>
        <pc:cxnChg chg="add del">
          <ac:chgData name="Vijay, Rahul" userId="a840d856-14f6-4578-923a-f1748c496635" providerId="ADAL" clId="{2D8F8829-5DA3-4B20-9E16-55EAB282D270}" dt="2024-08-08T09:09:49.867" v="88"/>
          <ac:cxnSpMkLst>
            <pc:docMk/>
            <pc:sldMk cId="1406882500" sldId="2147470117"/>
            <ac:cxnSpMk id="80" creationId="{0A02FD8D-B440-7A27-30C6-400FBCF6D016}"/>
          </ac:cxnSpMkLst>
        </pc:cxnChg>
        <pc:cxnChg chg="add del">
          <ac:chgData name="Vijay, Rahul" userId="a840d856-14f6-4578-923a-f1748c496635" providerId="ADAL" clId="{2D8F8829-5DA3-4B20-9E16-55EAB282D270}" dt="2024-08-08T09:09:49.883" v="117"/>
          <ac:cxnSpMkLst>
            <pc:docMk/>
            <pc:sldMk cId="1406882500" sldId="2147470117"/>
            <ac:cxnSpMk id="85" creationId="{F20D130C-9FAD-5980-2EB5-0BBE3FA82613}"/>
          </ac:cxnSpMkLst>
        </pc:cxnChg>
        <pc:cxnChg chg="add del">
          <ac:chgData name="Vijay, Rahul" userId="a840d856-14f6-4578-923a-f1748c496635" providerId="ADAL" clId="{2D8F8829-5DA3-4B20-9E16-55EAB282D270}" dt="2024-08-08T09:09:49.867" v="100"/>
          <ac:cxnSpMkLst>
            <pc:docMk/>
            <pc:sldMk cId="1406882500" sldId="2147470117"/>
            <ac:cxnSpMk id="91" creationId="{C61F360A-CB2B-4C97-F8F2-5605EF66F422}"/>
          </ac:cxnSpMkLst>
        </pc:cxnChg>
        <pc:cxnChg chg="add del">
          <ac:chgData name="Vijay, Rahul" userId="a840d856-14f6-4578-923a-f1748c496635" providerId="ADAL" clId="{2D8F8829-5DA3-4B20-9E16-55EAB282D270}" dt="2024-08-08T09:09:49.883" v="124"/>
          <ac:cxnSpMkLst>
            <pc:docMk/>
            <pc:sldMk cId="1406882500" sldId="2147470117"/>
            <ac:cxnSpMk id="96" creationId="{3433EA2C-77E0-275A-58E2-CF6C8736E7E8}"/>
          </ac:cxnSpMkLst>
        </pc:cxnChg>
        <pc:cxnChg chg="add del">
          <ac:chgData name="Vijay, Rahul" userId="a840d856-14f6-4578-923a-f1748c496635" providerId="ADAL" clId="{2D8F8829-5DA3-4B20-9E16-55EAB282D270}" dt="2024-08-08T09:09:49.867" v="108"/>
          <ac:cxnSpMkLst>
            <pc:docMk/>
            <pc:sldMk cId="1406882500" sldId="2147470117"/>
            <ac:cxnSpMk id="109" creationId="{4DFC254C-FF01-C6DF-3B88-FF602955C716}"/>
          </ac:cxnSpMkLst>
        </pc:cxnChg>
        <pc:cxnChg chg="add del">
          <ac:chgData name="Vijay, Rahul" userId="a840d856-14f6-4578-923a-f1748c496635" providerId="ADAL" clId="{2D8F8829-5DA3-4B20-9E16-55EAB282D270}" dt="2024-08-08T09:09:49.867" v="91"/>
          <ac:cxnSpMkLst>
            <pc:docMk/>
            <pc:sldMk cId="1406882500" sldId="2147470117"/>
            <ac:cxnSpMk id="114" creationId="{4094122A-684B-1946-60B3-69EB1CA6F3CB}"/>
          </ac:cxnSpMkLst>
        </pc:cxnChg>
        <pc:cxnChg chg="add del">
          <ac:chgData name="Vijay, Rahul" userId="a840d856-14f6-4578-923a-f1748c496635" providerId="ADAL" clId="{2D8F8829-5DA3-4B20-9E16-55EAB282D270}" dt="2024-08-08T09:09:49.867" v="114"/>
          <ac:cxnSpMkLst>
            <pc:docMk/>
            <pc:sldMk cId="1406882500" sldId="2147470117"/>
            <ac:cxnSpMk id="126" creationId="{EC762B92-DCA4-3F15-3BDC-162BFA5DBD97}"/>
          </ac:cxnSpMkLst>
        </pc:cxnChg>
        <pc:cxnChg chg="add del">
          <ac:chgData name="Vijay, Rahul" userId="a840d856-14f6-4578-923a-f1748c496635" providerId="ADAL" clId="{2D8F8829-5DA3-4B20-9E16-55EAB282D270}" dt="2024-08-08T09:09:49.867" v="97"/>
          <ac:cxnSpMkLst>
            <pc:docMk/>
            <pc:sldMk cId="1406882500" sldId="2147470117"/>
            <ac:cxnSpMk id="131" creationId="{6361136C-641E-D7D6-A51C-B002608C7122}"/>
          </ac:cxnSpMkLst>
        </pc:cxnChg>
        <pc:cxnChg chg="add del">
          <ac:chgData name="Vijay, Rahul" userId="a840d856-14f6-4578-923a-f1748c496635" providerId="ADAL" clId="{2D8F8829-5DA3-4B20-9E16-55EAB282D270}" dt="2024-08-08T09:09:49.867" v="111"/>
          <ac:cxnSpMkLst>
            <pc:docMk/>
            <pc:sldMk cId="1406882500" sldId="2147470117"/>
            <ac:cxnSpMk id="136" creationId="{C8C1D18C-AEE4-F6EB-928A-13FE6EECA7F0}"/>
          </ac:cxnSpMkLst>
        </pc:cxnChg>
        <pc:cxnChg chg="add del">
          <ac:chgData name="Vijay, Rahul" userId="a840d856-14f6-4578-923a-f1748c496635" providerId="ADAL" clId="{2D8F8829-5DA3-4B20-9E16-55EAB282D270}" dt="2024-08-08T09:09:49.867" v="94"/>
          <ac:cxnSpMkLst>
            <pc:docMk/>
            <pc:sldMk cId="1406882500" sldId="2147470117"/>
            <ac:cxnSpMk id="141" creationId="{FC98BC43-3952-1323-F47A-4A9A3C920F01}"/>
          </ac:cxnSpMkLst>
        </pc:cxnChg>
        <pc:cxnChg chg="add del">
          <ac:chgData name="Vijay, Rahul" userId="a840d856-14f6-4578-923a-f1748c496635" providerId="ADAL" clId="{2D8F8829-5DA3-4B20-9E16-55EAB282D270}" dt="2024-08-08T09:09:49.883" v="121"/>
          <ac:cxnSpMkLst>
            <pc:docMk/>
            <pc:sldMk cId="1406882500" sldId="2147470117"/>
            <ac:cxnSpMk id="146" creationId="{2E952BA7-450B-EF21-91BA-761E85E9C1CB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CAB98A6-7761-4E4D-83FC-6D1D2506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010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put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C50862E0-0C45-201F-5E59-26FAF4A39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8492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0862E0-0C45-201F-5E59-26FAF4A39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5C15F467-D010-4602-AC5F-D8DD1A8B1E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494880">
              <a:extLst>
                <a:ext uri="{FF2B5EF4-FFF2-40B4-BE49-F238E27FC236}">
                  <a16:creationId xmlns:a16="http://schemas.microsoft.com/office/drawing/2014/main" id="{A23FB7C8-7F45-4DFD-80CC-3F46736BE77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483646">
              <a:extLst>
                <a:ext uri="{FF2B5EF4-FFF2-40B4-BE49-F238E27FC236}">
                  <a16:creationId xmlns:a16="http://schemas.microsoft.com/office/drawing/2014/main" id="{957FA5C7-A87E-450A-97D2-D9D28B2F9B7D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850210">
              <a:extLst>
                <a:ext uri="{FF2B5EF4-FFF2-40B4-BE49-F238E27FC236}">
                  <a16:creationId xmlns:a16="http://schemas.microsoft.com/office/drawing/2014/main" id="{478B6F67-8618-4C7F-A0D5-B4003CDE300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60273">
              <a:extLst>
                <a:ext uri="{FF2B5EF4-FFF2-40B4-BE49-F238E27FC236}">
                  <a16:creationId xmlns:a16="http://schemas.microsoft.com/office/drawing/2014/main" id="{CFD08CD3-F426-4F9D-800F-94DE6ADA6DD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676224">
              <a:extLst>
                <a:ext uri="{FF2B5EF4-FFF2-40B4-BE49-F238E27FC236}">
                  <a16:creationId xmlns:a16="http://schemas.microsoft.com/office/drawing/2014/main" id="{6FA51C57-234B-4906-8D04-63E813F4009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944403">
              <a:extLst>
                <a:ext uri="{FF2B5EF4-FFF2-40B4-BE49-F238E27FC236}">
                  <a16:creationId xmlns:a16="http://schemas.microsoft.com/office/drawing/2014/main" id="{1B4910AB-D3E8-48ED-888D-30345F10B79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375069">
              <a:extLst>
                <a:ext uri="{FF2B5EF4-FFF2-40B4-BE49-F238E27FC236}">
                  <a16:creationId xmlns:a16="http://schemas.microsoft.com/office/drawing/2014/main" id="{B87D052C-B5A6-46C7-996B-70158617329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A784A019-59B3-42EC-B894-517067AC13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154652">
              <a:extLst>
                <a:ext uri="{FF2B5EF4-FFF2-40B4-BE49-F238E27FC236}">
                  <a16:creationId xmlns:a16="http://schemas.microsoft.com/office/drawing/2014/main" id="{0ADC2B16-6977-43A6-B5CB-077C758676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188540">
              <a:extLst>
                <a:ext uri="{FF2B5EF4-FFF2-40B4-BE49-F238E27FC236}">
                  <a16:creationId xmlns:a16="http://schemas.microsoft.com/office/drawing/2014/main" id="{3A09073A-B834-4F7D-86FC-161566D3F35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161819">
              <a:extLst>
                <a:ext uri="{FF2B5EF4-FFF2-40B4-BE49-F238E27FC236}">
                  <a16:creationId xmlns:a16="http://schemas.microsoft.com/office/drawing/2014/main" id="{1FEDEB70-763F-43E6-A824-1260DE3426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09859">
              <a:extLst>
                <a:ext uri="{FF2B5EF4-FFF2-40B4-BE49-F238E27FC236}">
                  <a16:creationId xmlns:a16="http://schemas.microsoft.com/office/drawing/2014/main" id="{F367F34E-FC84-48D3-A430-768B17F1462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804212">
              <a:extLst>
                <a:ext uri="{FF2B5EF4-FFF2-40B4-BE49-F238E27FC236}">
                  <a16:creationId xmlns:a16="http://schemas.microsoft.com/office/drawing/2014/main" id="{D7D05353-76F2-4B95-8D1D-42F07934618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745003">
              <a:extLst>
                <a:ext uri="{FF2B5EF4-FFF2-40B4-BE49-F238E27FC236}">
                  <a16:creationId xmlns:a16="http://schemas.microsoft.com/office/drawing/2014/main" id="{F4C36095-C101-4ECC-B658-CF8100E475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9505">
              <a:extLst>
                <a:ext uri="{FF2B5EF4-FFF2-40B4-BE49-F238E27FC236}">
                  <a16:creationId xmlns:a16="http://schemas.microsoft.com/office/drawing/2014/main" id="{D4A4BD2F-E00B-4124-BB23-A60C66AF78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904097F7-4F2B-43BF-9A28-93FF9ADD3E18}"/>
              </a:ext>
            </a:extLst>
          </p:cNvPr>
          <p:cNvSpPr/>
          <p:nvPr/>
        </p:nvSpPr>
        <p:spPr bwMode="gray">
          <a:xfrm flipH="1" flipV="1">
            <a:off x="4787421" y="-2481259"/>
            <a:ext cx="13978634" cy="764380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4232F778-5584-42CF-888A-EA49358E1A45}"/>
              </a:ext>
            </a:extLst>
          </p:cNvPr>
          <p:cNvSpPr/>
          <p:nvPr/>
        </p:nvSpPr>
        <p:spPr bwMode="gray">
          <a:xfrm flipH="1" flipV="1">
            <a:off x="5467350" y="-1788888"/>
            <a:ext cx="12610448" cy="625906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Partial Circle 34">
            <a:extLst>
              <a:ext uri="{FF2B5EF4-FFF2-40B4-BE49-F238E27FC236}">
                <a16:creationId xmlns:a16="http://schemas.microsoft.com/office/drawing/2014/main" id="{77DCFDF6-9B49-4AA2-82DD-24CAEE6CE380}"/>
              </a:ext>
            </a:extLst>
          </p:cNvPr>
          <p:cNvSpPr/>
          <p:nvPr/>
        </p:nvSpPr>
        <p:spPr bwMode="gray">
          <a:xfrm flipH="1" flipV="1">
            <a:off x="6472185" y="-1010113"/>
            <a:ext cx="10593374" cy="4720572"/>
          </a:xfrm>
          <a:prstGeom prst="pie">
            <a:avLst>
              <a:gd name="adj1" fmla="val 16201139"/>
              <a:gd name="adj2" fmla="val 1154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74F176-D606-4B02-B95B-93050E0B17CA}"/>
              </a:ext>
            </a:extLst>
          </p:cNvPr>
          <p:cNvSpPr txBox="1"/>
          <p:nvPr/>
        </p:nvSpPr>
        <p:spPr bwMode="gray">
          <a:xfrm>
            <a:off x="10989000" y="158593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1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5885377-94FA-48FD-AC1D-7168CDB358B1}"/>
              </a:ext>
            </a:extLst>
          </p:cNvPr>
          <p:cNvSpPr/>
          <p:nvPr/>
        </p:nvSpPr>
        <p:spPr bwMode="gray">
          <a:xfrm rot="16200000">
            <a:off x="-217885" y="3460674"/>
            <a:ext cx="1392929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99373FB-54F0-15FF-BE42-03DFF11BB0B6}"/>
              </a:ext>
            </a:extLst>
          </p:cNvPr>
          <p:cNvGrpSpPr/>
          <p:nvPr/>
        </p:nvGrpSpPr>
        <p:grpSpPr>
          <a:xfrm>
            <a:off x="33138" y="1029026"/>
            <a:ext cx="504263" cy="5109451"/>
            <a:chOff x="33138" y="1029026"/>
            <a:chExt cx="504263" cy="5109451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493320D8-2509-40DD-AFFA-AFB91AA464AC}"/>
                </a:ext>
              </a:extLst>
            </p:cNvPr>
            <p:cNvSpPr txBox="1"/>
            <p:nvPr/>
          </p:nvSpPr>
          <p:spPr bwMode="gray">
            <a:xfrm rot="16200000">
              <a:off x="-604566" y="3408294"/>
              <a:ext cx="1686666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in Relationship to company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0780F58-446C-41AE-AD14-C49491DA456D}"/>
                </a:ext>
              </a:extLst>
            </p:cNvPr>
            <p:cNvSpPr txBox="1"/>
            <p:nvPr/>
          </p:nvSpPr>
          <p:spPr bwMode="gray">
            <a:xfrm rot="16200000">
              <a:off x="-118666" y="1304613"/>
              <a:ext cx="9316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cellent relationship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EEB242E-E05D-4726-825B-8DEAD66896B5}"/>
                </a:ext>
              </a:extLst>
            </p:cNvPr>
            <p:cNvSpPr txBox="1"/>
            <p:nvPr/>
          </p:nvSpPr>
          <p:spPr bwMode="gray">
            <a:xfrm rot="16200000">
              <a:off x="-107065" y="5494011"/>
              <a:ext cx="90845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relationship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303A27C-5EE7-BBA7-15DA-C0F3BE6FAD85}"/>
              </a:ext>
            </a:extLst>
          </p:cNvPr>
          <p:cNvGrpSpPr/>
          <p:nvPr/>
        </p:nvGrpSpPr>
        <p:grpSpPr>
          <a:xfrm>
            <a:off x="571334" y="6000281"/>
            <a:ext cx="11290466" cy="601497"/>
            <a:chOff x="571334" y="6000281"/>
            <a:chExt cx="11290466" cy="60149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C82FBC9-A205-4684-AD25-C5F7BBDB3B96}"/>
                </a:ext>
              </a:extLst>
            </p:cNvPr>
            <p:cNvSpPr txBox="1"/>
            <p:nvPr/>
          </p:nvSpPr>
          <p:spPr bwMode="gray">
            <a:xfrm>
              <a:off x="4018680" y="6190521"/>
              <a:ext cx="4950060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 potential (Margin/ Cost, NWC, Cash, Revenue)</a:t>
              </a:r>
              <a:b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absolute score from low to high)</a:t>
              </a:r>
            </a:p>
          </p:txBody>
        </p:sp>
        <p:sp>
          <p:nvSpPr>
            <p:cNvPr id="34" name="Arrow: Right 33">
              <a:extLst>
                <a:ext uri="{FF2B5EF4-FFF2-40B4-BE49-F238E27FC236}">
                  <a16:creationId xmlns:a16="http://schemas.microsoft.com/office/drawing/2014/main" id="{7A9495FE-531A-4EDA-9635-17EA6D97CAB9}"/>
                </a:ext>
              </a:extLst>
            </p:cNvPr>
            <p:cNvSpPr/>
            <p:nvPr/>
          </p:nvSpPr>
          <p:spPr bwMode="gray">
            <a:xfrm>
              <a:off x="3052049" y="6047567"/>
              <a:ext cx="6759758" cy="194469"/>
            </a:xfrm>
            <a:prstGeom prst="rightArrow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0446594-CD83-4B8F-B851-09B1C104BE5E}"/>
                </a:ext>
              </a:extLst>
            </p:cNvPr>
            <p:cNvSpPr txBox="1"/>
            <p:nvPr/>
          </p:nvSpPr>
          <p:spPr bwMode="gray">
            <a:xfrm>
              <a:off x="571334" y="6000281"/>
              <a:ext cx="1462738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er improvement potential vs peer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EAA5CE3-097B-460C-A409-3B89173E4031}"/>
                </a:ext>
              </a:extLst>
            </p:cNvPr>
            <p:cNvSpPr txBox="1"/>
            <p:nvPr/>
          </p:nvSpPr>
          <p:spPr bwMode="gray">
            <a:xfrm>
              <a:off x="10572750" y="6047463"/>
              <a:ext cx="1289050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gher improvement potential vs peers</a:t>
              </a: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99AE1C1A-35D0-44FE-A1CD-B1D441DD00EF}"/>
              </a:ext>
            </a:extLst>
          </p:cNvPr>
          <p:cNvSpPr/>
          <p:nvPr/>
        </p:nvSpPr>
        <p:spPr bwMode="gray">
          <a:xfrm>
            <a:off x="10986268" y="5184097"/>
            <a:ext cx="590598" cy="57238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$3B</a:t>
            </a:r>
            <a:endParaRPr kumimoji="0" lang="pl-PL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26D4E3-D8F2-474F-B8E1-81204623FAE6}"/>
              </a:ext>
            </a:extLst>
          </p:cNvPr>
          <p:cNvSpPr txBox="1"/>
          <p:nvPr/>
        </p:nvSpPr>
        <p:spPr bwMode="gray">
          <a:xfrm>
            <a:off x="10989000" y="3832946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9EEDA0-A5E5-4B6E-843B-640F4445A5AE}"/>
              </a:ext>
            </a:extLst>
          </p:cNvPr>
          <p:cNvSpPr txBox="1"/>
          <p:nvPr/>
        </p:nvSpPr>
        <p:spPr bwMode="gray">
          <a:xfrm>
            <a:off x="10989000" y="459265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3</a:t>
            </a:r>
          </a:p>
        </p:txBody>
      </p:sp>
      <p:sp>
        <p:nvSpPr>
          <p:cNvPr id="3" name="btfpNotesBox337012">
            <a:extLst>
              <a:ext uri="{FF2B5EF4-FFF2-40B4-BE49-F238E27FC236}">
                <a16:creationId xmlns:a16="http://schemas.microsoft.com/office/drawing/2014/main" id="{AE5D2731-58A4-4DB3-BBA5-9D911C40699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XXX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601CAEE8-3E76-47E1-63C7-B3F69942D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6882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</TotalTime>
  <Words>60</Words>
  <Application>Microsoft Office PowerPoint</Application>
  <PresentationFormat>Widescreen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Vijay, Rahul</cp:lastModifiedBy>
  <cp:revision>21</cp:revision>
  <cp:lastPrinted>2017-02-15T14:23:56Z</cp:lastPrinted>
  <dcterms:created xsi:type="dcterms:W3CDTF">2024-07-23T08:24:21Z</dcterms:created>
  <dcterms:modified xsi:type="dcterms:W3CDTF">2024-08-08T09:11:10Z</dcterms:modified>
</cp:coreProperties>
</file>